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5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75" r:id="rId3"/>
    <p:sldMasterId id="2147483687" r:id="rId4"/>
    <p:sldMasterId id="2147483759" r:id="rId5"/>
  </p:sldMasterIdLst>
  <p:notesMasterIdLst>
    <p:notesMasterId r:id="rId12"/>
  </p:notesMasterIdLst>
  <p:sldIdLst>
    <p:sldId id="316" r:id="rId6"/>
    <p:sldId id="325" r:id="rId7"/>
    <p:sldId id="323" r:id="rId8"/>
    <p:sldId id="334" r:id="rId9"/>
    <p:sldId id="336" r:id="rId10"/>
    <p:sldId id="335" r:id="rId11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4997"/>
    <a:srgbClr val="034DA2"/>
    <a:srgbClr val="F6F6FA"/>
    <a:srgbClr val="EC275F"/>
    <a:srgbClr val="0F6FC6"/>
    <a:srgbClr val="E7F0F8"/>
    <a:srgbClr val="CBDFF1"/>
    <a:srgbClr val="0883D7"/>
    <a:srgbClr val="1EBEFE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22" autoAdjust="0"/>
    <p:restoredTop sz="95581" autoAdjust="0"/>
  </p:normalViewPr>
  <p:slideViewPr>
    <p:cSldViewPr snapToGrid="0">
      <p:cViewPr varScale="1">
        <p:scale>
          <a:sx n="70" d="100"/>
          <a:sy n="70" d="100"/>
        </p:scale>
        <p:origin x="135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B74E27-8D4E-4208-84A3-D59BE5E989DD}" type="datetimeFigureOut">
              <a:rPr lang="ru-RU" smtClean="0"/>
              <a:t>08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A6F52E-07D2-4183-9B99-90400E3B12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30038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A6F52E-07D2-4183-9B99-90400E3B12A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6081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jp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5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0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2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8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jp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8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2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9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g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BA08B-E07F-405F-84E4-553A85E63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9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BA08B-E07F-405F-84E4-553A85E63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CF4AB70D-F0FB-498E-B5DB-97A4CDD9D31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455A9B"/>
              </a:clrFrom>
              <a:clrTo>
                <a:srgbClr val="455A9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936" y="623867"/>
            <a:ext cx="3166707" cy="1465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71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1960D692-BCBF-9B4C-04B5-6FE8CCE6B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>
            <a:off x="8201025" y="993363"/>
            <a:ext cx="4008903" cy="3968750"/>
          </a:xfrm>
          <a:prstGeom prst="rect">
            <a:avLst/>
          </a:prstGeom>
        </p:spPr>
      </p:pic>
      <p:pic>
        <p:nvPicPr>
          <p:cNvPr id="5" name="Рисунок 4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0AD8C047-0C01-3C03-5AEE-7476FE31C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 rot="10800000">
            <a:off x="0" y="993363"/>
            <a:ext cx="4008903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8639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A76CF95-F6B6-F878-4AB0-3AC9A89F98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0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A76CF95-F6B6-F878-4AB0-3AC9A89F98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53">
            <a:extLst>
              <a:ext uri="{FF2B5EF4-FFF2-40B4-BE49-F238E27FC236}">
                <a16:creationId xmlns:a16="http://schemas.microsoft.com/office/drawing/2014/main" id="{3A942EC5-EE4D-CB79-F2C9-B0537D26E03B}"/>
              </a:ext>
            </a:extLst>
          </p:cNvPr>
          <p:cNvSpPr/>
          <p:nvPr userDrawn="1"/>
        </p:nvSpPr>
        <p:spPr>
          <a:xfrm>
            <a:off x="0" y="-2385"/>
            <a:ext cx="12192000" cy="1252688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1" name="Picture 57">
            <a:extLst>
              <a:ext uri="{FF2B5EF4-FFF2-40B4-BE49-F238E27FC236}">
                <a16:creationId xmlns:a16="http://schemas.microsoft.com/office/drawing/2014/main" id="{26FD4FE1-7D8A-3E87-76CB-D5A5F0DF5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500" b="65827"/>
          <a:stretch/>
        </p:blipFill>
        <p:spPr>
          <a:xfrm flipH="1">
            <a:off x="-9" y="-2384"/>
            <a:ext cx="12192001" cy="12526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Заголовок 19">
            <a:extLst>
              <a:ext uri="{FF2B5EF4-FFF2-40B4-BE49-F238E27FC236}">
                <a16:creationId xmlns:a16="http://schemas.microsoft.com/office/drawing/2014/main" id="{51FF9BAE-BDCC-028F-C9CF-7B772D9234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538821"/>
            <a:ext cx="10837321" cy="3323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ru-RU" dirty="0">
                <a:solidFill>
                  <a:srgbClr val="FFFFFF"/>
                </a:solidFill>
              </a:rPr>
              <a:t>…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942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E77082-3826-42D0-B31E-104961A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3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E77082-3826-42D0-B31E-104961A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B18A8344-5352-4057-ABAA-7F739FE85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867" r="3189"/>
          <a:stretch/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black">
          <a:xfrm>
            <a:off x="626289" y="626321"/>
            <a:ext cx="5610517" cy="553250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 descr="Text, logo&#10;&#10;Description automatically generated">
            <a:extLst>
              <a:ext uri="{FF2B5EF4-FFF2-40B4-BE49-F238E27FC236}">
                <a16:creationId xmlns:a16="http://schemas.microsoft.com/office/drawing/2014/main" id="{71D859CB-E1E5-4D31-8764-95F1A301A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44264"/>
          <a:stretch/>
        </p:blipFill>
        <p:spPr>
          <a:xfrm>
            <a:off x="2057735" y="2914009"/>
            <a:ext cx="2747624" cy="957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657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444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5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5216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DU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81" name="Слайд think-cell" r:id="rId4" imgW="352" imgH="355" progId="TCLayout.ActiveDocument.1">
                  <p:embed/>
                </p:oleObj>
              </mc:Choice>
              <mc:Fallback>
                <p:oleObj name="Слайд think-cell" r:id="rId4" imgW="352" imgH="355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person&#10;&#10;Description automatically generated">
            <a:extLst>
              <a:ext uri="{FF2B5EF4-FFF2-40B4-BE49-F238E27FC236}">
                <a16:creationId xmlns:a16="http://schemas.microsoft.com/office/drawing/2014/main" id="{48F51AB0-B5CF-43A5-A9F2-DC0E382C990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 cstate="email">
            <a:alphaModFix amt="5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144" t="8741" r="101" b="27"/>
          <a:stretch/>
        </p:blipFill>
        <p:spPr>
          <a:xfrm rot="5400000" flipH="1" flipV="1">
            <a:off x="5865098" y="-1049258"/>
            <a:ext cx="461010" cy="12191206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36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78729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algn="ctr" defTabSz="410766" hangingPunct="0"/>
            <a:fld id="{86CB4B4D-7CA3-9044-876B-883B54F8677D}" type="slidenum">
              <a:rPr lang="ru-RU" kern="0" smtClean="0">
                <a:solidFill>
                  <a:srgbClr val="000000"/>
                </a:solidFill>
              </a:rPr>
              <a:pPr algn="ctr" defTabSz="410766" hangingPunct="0"/>
              <a:t>‹#›</a:t>
            </a:fld>
            <a:endParaRPr lang="ru-RU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317304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580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1319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904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8866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BA08B-E07F-405F-84E4-553A85E63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5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BA08B-E07F-405F-84E4-553A85E63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CF4AB70D-F0FB-498E-B5DB-97A4CDD9D31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455A9B"/>
              </a:clrFrom>
              <a:clrTo>
                <a:srgbClr val="455A9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936" y="623867"/>
            <a:ext cx="3166707" cy="1465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29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9233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21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61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680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A76CF95-F6B6-F878-4AB0-3AC9A89F98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A76CF95-F6B6-F878-4AB0-3AC9A89F98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53">
            <a:extLst>
              <a:ext uri="{FF2B5EF4-FFF2-40B4-BE49-F238E27FC236}">
                <a16:creationId xmlns:a16="http://schemas.microsoft.com/office/drawing/2014/main" id="{3A942EC5-EE4D-CB79-F2C9-B0537D26E03B}"/>
              </a:ext>
            </a:extLst>
          </p:cNvPr>
          <p:cNvSpPr/>
          <p:nvPr userDrawn="1"/>
        </p:nvSpPr>
        <p:spPr>
          <a:xfrm>
            <a:off x="0" y="-2385"/>
            <a:ext cx="12192000" cy="730668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8" name="Picture 57">
            <a:extLst>
              <a:ext uri="{FF2B5EF4-FFF2-40B4-BE49-F238E27FC236}">
                <a16:creationId xmlns:a16="http://schemas.microsoft.com/office/drawing/2014/main" id="{26FD4FE1-7D8A-3E87-76CB-D5A5F0DF5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500" b="65827"/>
          <a:stretch/>
        </p:blipFill>
        <p:spPr>
          <a:xfrm flipH="1">
            <a:off x="-10" y="-2384"/>
            <a:ext cx="12192001" cy="73066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2184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74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489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43826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56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1960D692-BCBF-9B4C-04B5-6FE8CCE6B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>
            <a:off x="8201025" y="993363"/>
            <a:ext cx="4008903" cy="3968750"/>
          </a:xfrm>
          <a:prstGeom prst="rect">
            <a:avLst/>
          </a:prstGeom>
        </p:spPr>
      </p:pic>
      <p:pic>
        <p:nvPicPr>
          <p:cNvPr id="5" name="Рисунок 4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0AD8C047-0C01-3C03-5AEE-7476FE31C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 rot="10800000">
            <a:off x="0" y="993363"/>
            <a:ext cx="4008903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5104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BA08B-E07F-405F-84E4-553A85E63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7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BA08B-E07F-405F-84E4-553A85E63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CF4AB70D-F0FB-498E-B5DB-97A4CDD9D31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D088C6AA-2949-49B2-8B99-26CC14A9C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b="32514"/>
          <a:stretch/>
        </p:blipFill>
        <p:spPr>
          <a:xfrm>
            <a:off x="957601" y="946937"/>
            <a:ext cx="1761788" cy="74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6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4653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07199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701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14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6186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5209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69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704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63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1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1153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40099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1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178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0910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9684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727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8565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38166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716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48622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337C43B-1272-47B5-A25A-576B88B4D8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5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337C43B-1272-47B5-A25A-576B88B4D8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9429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9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34343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17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8071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967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28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E7D12C-4489-4800-9BB1-436AC95758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3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E7D12C-4489-4800-9BB1-436AC9575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CF48FA5F-D8BE-42D2-9B2C-CBE444DF25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867" r="3189"/>
          <a:stretch/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black">
          <a:xfrm>
            <a:off x="626289" y="626321"/>
            <a:ext cx="5610517" cy="553250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 descr="Text, logo&#10;&#10;Description automatically generated">
            <a:extLst>
              <a:ext uri="{FF2B5EF4-FFF2-40B4-BE49-F238E27FC236}">
                <a16:creationId xmlns:a16="http://schemas.microsoft.com/office/drawing/2014/main" id="{52A6ECDA-44DD-4F91-9A92-2316420BF4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32514"/>
          <a:stretch/>
        </p:blipFill>
        <p:spPr>
          <a:xfrm>
            <a:off x="2057735" y="2813114"/>
            <a:ext cx="2747624" cy="1158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11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486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BCE5FF-9229-4DE9-A9CE-533C7EF5F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7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BCE5FF-9229-4DE9-A9CE-533C7EF5F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DBA97BA5-F050-4384-AB99-438212F4060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7" name="Picture 16" descr="Text, logo&#10;&#10;Description automatically generated">
            <a:extLst>
              <a:ext uri="{FF2B5EF4-FFF2-40B4-BE49-F238E27FC236}">
                <a16:creationId xmlns:a16="http://schemas.microsoft.com/office/drawing/2014/main" id="{38281191-7F9C-4F71-BBA3-45B4F5D1D7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b="32514"/>
          <a:stretch/>
        </p:blipFill>
        <p:spPr>
          <a:xfrm>
            <a:off x="957601" y="946937"/>
            <a:ext cx="1761788" cy="74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17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5035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823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5100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81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516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9194FE-0F28-4A3D-B28B-E2C0D75DEE42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50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ue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40490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5988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u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90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u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495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ue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876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1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A76CF95-F6B6-F878-4AB0-3AC9A89F98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A76CF95-F6B6-F878-4AB0-3AC9A89F98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53">
            <a:extLst>
              <a:ext uri="{FF2B5EF4-FFF2-40B4-BE49-F238E27FC236}">
                <a16:creationId xmlns:a16="http://schemas.microsoft.com/office/drawing/2014/main" id="{3A942EC5-EE4D-CB79-F2C9-B0537D26E03B}"/>
              </a:ext>
            </a:extLst>
          </p:cNvPr>
          <p:cNvSpPr/>
          <p:nvPr userDrawn="1"/>
        </p:nvSpPr>
        <p:spPr>
          <a:xfrm>
            <a:off x="0" y="-2385"/>
            <a:ext cx="12192000" cy="730668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1" name="Picture 57">
            <a:extLst>
              <a:ext uri="{FF2B5EF4-FFF2-40B4-BE49-F238E27FC236}">
                <a16:creationId xmlns:a16="http://schemas.microsoft.com/office/drawing/2014/main" id="{26FD4FE1-7D8A-3E87-76CB-D5A5F0DF5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500" b="65827"/>
          <a:stretch/>
        </p:blipFill>
        <p:spPr>
          <a:xfrm flipH="1">
            <a:off x="-10" y="-2384"/>
            <a:ext cx="12192001" cy="73066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Заголовок 19">
            <a:extLst>
              <a:ext uri="{FF2B5EF4-FFF2-40B4-BE49-F238E27FC236}">
                <a16:creationId xmlns:a16="http://schemas.microsoft.com/office/drawing/2014/main" id="{51FF9BAE-BDCC-028F-C9CF-7B772D9234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98957"/>
            <a:ext cx="10837321" cy="3323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ru-RU" dirty="0">
                <a:solidFill>
                  <a:srgbClr val="FFFFFF"/>
                </a:solidFill>
              </a:rPr>
              <a:t>…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1A277CD-E6E9-48AD-F017-3E18A8695E48}"/>
              </a:ext>
            </a:extLst>
          </p:cNvPr>
          <p:cNvSpPr/>
          <p:nvPr userDrawn="1"/>
        </p:nvSpPr>
        <p:spPr>
          <a:xfrm>
            <a:off x="248683" y="661663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ООО</a:t>
            </a:r>
            <a:r>
              <a:rPr lang="ru-RU" sz="1000" baseline="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 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«Просвещение-Союз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1083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ue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0965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036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ue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11086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724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ue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25271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981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ue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4977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5446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B8D31C-2967-4914-B4F5-0E65D96F08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5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B8D31C-2967-4914-B4F5-0E65D96F0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29780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9" name="Слайд think-cell" r:id="rId4" imgW="384" imgH="384" progId="TCLayout.ActiveDocument.1">
                  <p:embed/>
                </p:oleObj>
              </mc:Choice>
              <mc:Fallback>
                <p:oleObj name="Слайд think-cell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34343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43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64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9156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441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38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02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E77082-3826-42D0-B31E-104961A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3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E77082-3826-42D0-B31E-104961A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B18A8344-5352-4057-ABAA-7F739FE85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867" r="3189"/>
          <a:stretch/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black">
          <a:xfrm>
            <a:off x="626289" y="626321"/>
            <a:ext cx="5610517" cy="553250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 descr="Text, logo&#10;&#10;Description automatically generated">
            <a:extLst>
              <a:ext uri="{FF2B5EF4-FFF2-40B4-BE49-F238E27FC236}">
                <a16:creationId xmlns:a16="http://schemas.microsoft.com/office/drawing/2014/main" id="{71D859CB-E1E5-4D31-8764-95F1A301A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44264"/>
          <a:stretch/>
        </p:blipFill>
        <p:spPr>
          <a:xfrm>
            <a:off x="2057735" y="2914009"/>
            <a:ext cx="2747624" cy="957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68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66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86012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251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451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749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482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6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7FC46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19DD9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3784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4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0" i="0" u="none" strike="noStrike" kern="1200" cap="none" spc="0" normalizeH="0" baseline="0" noProof="0" dirty="0">
                <a:ln>
                  <a:noFill/>
                </a:ln>
                <a:solidFill>
                  <a:srgbClr val="019DD9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noFill/>
          <a:ln w="9525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35221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0058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506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DU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13" name="Слайд think-cell" r:id="rId4" imgW="352" imgH="355" progId="TCLayout.ActiveDocument.1">
                  <p:embed/>
                </p:oleObj>
              </mc:Choice>
              <mc:Fallback>
                <p:oleObj name="Слайд think-cell" r:id="rId4" imgW="352" imgH="355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person&#10;&#10;Description automatically generated">
            <a:extLst>
              <a:ext uri="{FF2B5EF4-FFF2-40B4-BE49-F238E27FC236}">
                <a16:creationId xmlns:a16="http://schemas.microsoft.com/office/drawing/2014/main" id="{48F51AB0-B5CF-43A5-A9F2-DC0E382C990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 cstate="email">
            <a:alphaModFix amt="5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144" t="8741" r="101" b="27"/>
          <a:stretch/>
        </p:blipFill>
        <p:spPr>
          <a:xfrm rot="5400000" flipH="1" flipV="1">
            <a:off x="5865098" y="-1049258"/>
            <a:ext cx="461010" cy="12191206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36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222874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CG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947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156018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418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40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31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CG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19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8159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017AEA-73F5-40FD-9D3B-B7357A64F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37" name="Слайд think-cell" r:id="rId4" imgW="484" imgH="486" progId="TCLayout.ActiveDocument.1">
                  <p:embed/>
                </p:oleObj>
              </mc:Choice>
              <mc:Fallback>
                <p:oleObj name="Слайд think-cell" r:id="rId4" imgW="484" imgH="4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017AEA-73F5-40FD-9D3B-B7357A64F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C0CA3FBA-5294-462D-B8CC-91D6721184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B408AE-DD49-42AA-8252-C3B5718CE0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person standing in front of a starry sky&#10;&#10;Description automatically generated with low confidence">
            <a:extLst>
              <a:ext uri="{FF2B5EF4-FFF2-40B4-BE49-F238E27FC236}">
                <a16:creationId xmlns:a16="http://schemas.microsoft.com/office/drawing/2014/main" id="{2A304E8D-7AB5-402B-8494-11A11E2568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0"/>
            <a:ext cx="12216558" cy="6863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39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BA08B-E07F-405F-84E4-553A85E63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5"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BA08B-E07F-405F-84E4-553A85E63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CF4AB70D-F0FB-498E-B5DB-97A4CDD9D31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D088C6AA-2949-49B2-8B99-26CC14A9C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b="32514"/>
          <a:stretch/>
        </p:blipFill>
        <p:spPr>
          <a:xfrm>
            <a:off x="957601" y="946937"/>
            <a:ext cx="1761788" cy="74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61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46860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384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540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24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6170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77983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vmlDrawing" Target="../drawings/vmlDrawing4.vml"/><Relationship Id="rId7" Type="http://schemas.openxmlformats.org/officeDocument/2006/relationships/image" Target="../media/image10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g"/><Relationship Id="rId4" Type="http://schemas.openxmlformats.org/officeDocument/2006/relationships/tags" Target="../tags/tag4.xml"/><Relationship Id="rId9" Type="http://schemas.openxmlformats.org/officeDocument/2006/relationships/image" Target="../media/image1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jp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9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42.xml"/><Relationship Id="rId34" Type="http://schemas.openxmlformats.org/officeDocument/2006/relationships/slideLayout" Target="../slideLayouts/slideLayout55.xml"/><Relationship Id="rId42" Type="http://schemas.openxmlformats.org/officeDocument/2006/relationships/slideLayout" Target="../slideLayouts/slideLayout63.xml"/><Relationship Id="rId47" Type="http://schemas.openxmlformats.org/officeDocument/2006/relationships/slideLayout" Target="../slideLayouts/slideLayout68.xml"/><Relationship Id="rId50" Type="http://schemas.openxmlformats.org/officeDocument/2006/relationships/slideLayout" Target="../slideLayouts/slideLayout71.xml"/><Relationship Id="rId55" Type="http://schemas.openxmlformats.org/officeDocument/2006/relationships/slideLayout" Target="../slideLayouts/slideLayout76.xml"/><Relationship Id="rId63" Type="http://schemas.openxmlformats.org/officeDocument/2006/relationships/slideLayout" Target="../slideLayouts/slideLayout84.xml"/><Relationship Id="rId68" Type="http://schemas.openxmlformats.org/officeDocument/2006/relationships/slideLayout" Target="../slideLayouts/slideLayout89.xml"/><Relationship Id="rId76" Type="http://schemas.openxmlformats.org/officeDocument/2006/relationships/oleObject" Target="../embeddings/oleObject8.bin"/><Relationship Id="rId7" Type="http://schemas.openxmlformats.org/officeDocument/2006/relationships/slideLayout" Target="../slideLayouts/slideLayout28.xml"/><Relationship Id="rId71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9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32" Type="http://schemas.openxmlformats.org/officeDocument/2006/relationships/slideLayout" Target="../slideLayouts/slideLayout53.xml"/><Relationship Id="rId37" Type="http://schemas.openxmlformats.org/officeDocument/2006/relationships/slideLayout" Target="../slideLayouts/slideLayout58.xml"/><Relationship Id="rId40" Type="http://schemas.openxmlformats.org/officeDocument/2006/relationships/slideLayout" Target="../slideLayouts/slideLayout61.xml"/><Relationship Id="rId45" Type="http://schemas.openxmlformats.org/officeDocument/2006/relationships/slideLayout" Target="../slideLayouts/slideLayout66.xml"/><Relationship Id="rId53" Type="http://schemas.openxmlformats.org/officeDocument/2006/relationships/slideLayout" Target="../slideLayouts/slideLayout74.xml"/><Relationship Id="rId58" Type="http://schemas.openxmlformats.org/officeDocument/2006/relationships/slideLayout" Target="../slideLayouts/slideLayout79.xml"/><Relationship Id="rId66" Type="http://schemas.openxmlformats.org/officeDocument/2006/relationships/slideLayout" Target="../slideLayouts/slideLayout87.xml"/><Relationship Id="rId74" Type="http://schemas.openxmlformats.org/officeDocument/2006/relationships/tags" Target="../tags/tag8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36" Type="http://schemas.openxmlformats.org/officeDocument/2006/relationships/slideLayout" Target="../slideLayouts/slideLayout57.xml"/><Relationship Id="rId49" Type="http://schemas.openxmlformats.org/officeDocument/2006/relationships/slideLayout" Target="../slideLayouts/slideLayout70.xml"/><Relationship Id="rId57" Type="http://schemas.openxmlformats.org/officeDocument/2006/relationships/slideLayout" Target="../slideLayouts/slideLayout78.xml"/><Relationship Id="rId61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slideLayout" Target="../slideLayouts/slideLayout52.xml"/><Relationship Id="rId44" Type="http://schemas.openxmlformats.org/officeDocument/2006/relationships/slideLayout" Target="../slideLayouts/slideLayout65.xml"/><Relationship Id="rId52" Type="http://schemas.openxmlformats.org/officeDocument/2006/relationships/slideLayout" Target="../slideLayouts/slideLayout73.xml"/><Relationship Id="rId60" Type="http://schemas.openxmlformats.org/officeDocument/2006/relationships/slideLayout" Target="../slideLayouts/slideLayout81.xml"/><Relationship Id="rId65" Type="http://schemas.openxmlformats.org/officeDocument/2006/relationships/slideLayout" Target="../slideLayouts/slideLayout86.xml"/><Relationship Id="rId73" Type="http://schemas.openxmlformats.org/officeDocument/2006/relationships/vmlDrawing" Target="../drawings/vmlDrawing8.v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slideLayout" Target="../slideLayouts/slideLayout51.xml"/><Relationship Id="rId35" Type="http://schemas.openxmlformats.org/officeDocument/2006/relationships/slideLayout" Target="../slideLayouts/slideLayout56.xml"/><Relationship Id="rId43" Type="http://schemas.openxmlformats.org/officeDocument/2006/relationships/slideLayout" Target="../slideLayouts/slideLayout64.xml"/><Relationship Id="rId48" Type="http://schemas.openxmlformats.org/officeDocument/2006/relationships/slideLayout" Target="../slideLayouts/slideLayout69.xml"/><Relationship Id="rId56" Type="http://schemas.openxmlformats.org/officeDocument/2006/relationships/slideLayout" Target="../slideLayouts/slideLayout77.xml"/><Relationship Id="rId64" Type="http://schemas.openxmlformats.org/officeDocument/2006/relationships/slideLayout" Target="../slideLayouts/slideLayout85.xml"/><Relationship Id="rId69" Type="http://schemas.openxmlformats.org/officeDocument/2006/relationships/slideLayout" Target="../slideLayouts/slideLayout90.xml"/><Relationship Id="rId77" Type="http://schemas.openxmlformats.org/officeDocument/2006/relationships/image" Target="../media/image1.emf"/><Relationship Id="rId8" Type="http://schemas.openxmlformats.org/officeDocument/2006/relationships/slideLayout" Target="../slideLayouts/slideLayout29.xml"/><Relationship Id="rId51" Type="http://schemas.openxmlformats.org/officeDocument/2006/relationships/slideLayout" Target="../slideLayouts/slideLayout72.xml"/><Relationship Id="rId72" Type="http://schemas.openxmlformats.org/officeDocument/2006/relationships/theme" Target="../theme/theme4.xml"/><Relationship Id="rId3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33" Type="http://schemas.openxmlformats.org/officeDocument/2006/relationships/slideLayout" Target="../slideLayouts/slideLayout54.xml"/><Relationship Id="rId38" Type="http://schemas.openxmlformats.org/officeDocument/2006/relationships/slideLayout" Target="../slideLayouts/slideLayout59.xml"/><Relationship Id="rId46" Type="http://schemas.openxmlformats.org/officeDocument/2006/relationships/slideLayout" Target="../slideLayouts/slideLayout67.xml"/><Relationship Id="rId59" Type="http://schemas.openxmlformats.org/officeDocument/2006/relationships/slideLayout" Target="../slideLayouts/slideLayout80.xml"/><Relationship Id="rId67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41.xml"/><Relationship Id="rId41" Type="http://schemas.openxmlformats.org/officeDocument/2006/relationships/slideLayout" Target="../slideLayouts/slideLayout62.xml"/><Relationship Id="rId54" Type="http://schemas.openxmlformats.org/officeDocument/2006/relationships/slideLayout" Target="../slideLayouts/slideLayout75.xml"/><Relationship Id="rId62" Type="http://schemas.openxmlformats.org/officeDocument/2006/relationships/slideLayout" Target="../slideLayouts/slideLayout83.xml"/><Relationship Id="rId70" Type="http://schemas.openxmlformats.org/officeDocument/2006/relationships/slideLayout" Target="../slideLayouts/slideLayout91.xml"/><Relationship Id="rId75" Type="http://schemas.openxmlformats.org/officeDocument/2006/relationships/image" Target="../media/image2.jp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vmlDrawing" Target="../drawings/vmlDrawing30.vml"/><Relationship Id="rId3" Type="http://schemas.openxmlformats.org/officeDocument/2006/relationships/slideLayout" Target="../slideLayouts/slideLayout95.xml"/><Relationship Id="rId21" Type="http://schemas.openxmlformats.org/officeDocument/2006/relationships/oleObject" Target="../embeddings/oleObject30.bin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02.xml"/><Relationship Id="rId19" Type="http://schemas.openxmlformats.org/officeDocument/2006/relationships/tags" Target="../tags/tag3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" name="Слайд think-cell" r:id="rId15" imgW="270" imgH="270" progId="TCLayout.ActiveDocument.1">
                  <p:embed/>
                </p:oleObj>
              </mc:Choice>
              <mc:Fallback>
                <p:oleObj name="Слайд think-cell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B48B62-8FC6-4BEA-A2C8-CAEDC5016518}"/>
              </a:ext>
            </a:extLst>
          </p:cNvPr>
          <p:cNvSpPr txBox="1"/>
          <p:nvPr userDrawn="1"/>
        </p:nvSpPr>
        <p:spPr>
          <a:xfrm>
            <a:off x="11604476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70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" name="Слайд think-cell" r:id="rId6" imgW="383" imgH="384" progId="TCLayout.ActiveDocument.1">
                  <p:embed/>
                </p:oleObj>
              </mc:Choice>
              <mc:Fallback>
                <p:oleObj name="Слайд think-cell" r:id="rId6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Рисунок 12">
            <a:extLst>
              <a:ext uri="{FF2B5EF4-FFF2-40B4-BE49-F238E27FC236}">
                <a16:creationId xmlns:a16="http://schemas.microsoft.com/office/drawing/2014/main" id="{F66BE0B4-644A-FF25-15AD-B12C2F2B58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5" r="4910" b="2455"/>
          <a:stretch/>
        </p:blipFill>
        <p:spPr bwMode="auto">
          <a:xfrm>
            <a:off x="-4763" y="0"/>
            <a:ext cx="12192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9E243913-C352-F3BA-B6AB-7DC913B65500}"/>
              </a:ext>
            </a:extLst>
          </p:cNvPr>
          <p:cNvSpPr/>
          <p:nvPr userDrawn="1"/>
        </p:nvSpPr>
        <p:spPr>
          <a:xfrm>
            <a:off x="-4763" y="0"/>
            <a:ext cx="12192000" cy="6858000"/>
          </a:xfrm>
          <a:prstGeom prst="rect">
            <a:avLst/>
          </a:prstGeom>
          <a:solidFill>
            <a:srgbClr val="203764">
              <a:alpha val="8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542DF3A-1AFC-8390-CC83-112537ED13C6}"/>
              </a:ext>
            </a:extLst>
          </p:cNvPr>
          <p:cNvSpPr txBox="1"/>
          <p:nvPr userDrawn="1"/>
        </p:nvSpPr>
        <p:spPr>
          <a:xfrm>
            <a:off x="550863" y="5924618"/>
            <a:ext cx="6217799" cy="56425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права защищены. Никакая часть презентации не может быть воспроизведена в какой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 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г.</a:t>
            </a: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41109122-250B-C69B-7F74-D91D20FB093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2" y="549275"/>
            <a:ext cx="1800000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431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1300">
          <p15:clr>
            <a:srgbClr val="F26B43"/>
          </p15:clr>
        </p15:guide>
        <p15:guide id="3" orient="horz" pos="1298">
          <p15:clr>
            <a:srgbClr val="F26B43"/>
          </p15:clr>
        </p15:guide>
        <p15:guide id="4" pos="1549">
          <p15:clr>
            <a:srgbClr val="F26B43"/>
          </p15:clr>
        </p15:guide>
        <p15:guide id="5" pos="347">
          <p15:clr>
            <a:srgbClr val="F26B43"/>
          </p15:clr>
        </p15:guide>
        <p15:guide id="6" pos="2502">
          <p15:clr>
            <a:srgbClr val="F26B43"/>
          </p15:clr>
        </p15:guide>
        <p15:guide id="7" pos="2751">
          <p15:clr>
            <a:srgbClr val="F26B43"/>
          </p15:clr>
        </p15:guide>
        <p15:guide id="8" pos="3965">
          <p15:clr>
            <a:srgbClr val="F26B43"/>
          </p15:clr>
        </p15:guide>
        <p15:guide id="9" pos="3712">
          <p15:clr>
            <a:srgbClr val="F26B43"/>
          </p15:clr>
        </p15:guide>
        <p15:guide id="10" pos="4919">
          <p15:clr>
            <a:srgbClr val="F26B43"/>
          </p15:clr>
        </p15:guide>
        <p15:guide id="11" pos="6131">
          <p15:clr>
            <a:srgbClr val="F26B43"/>
          </p15:clr>
        </p15:guide>
        <p15:guide id="12" pos="5166">
          <p15:clr>
            <a:srgbClr val="F26B43"/>
          </p15:clr>
        </p15:guide>
        <p15:guide id="13" pos="6378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548">
          <p15:clr>
            <a:srgbClr val="F26B43"/>
          </p15:clr>
        </p15:guide>
        <p15:guide id="16" orient="horz" pos="2523">
          <p15:clr>
            <a:srgbClr val="F26B43"/>
          </p15:clr>
        </p15:guide>
        <p15:guide id="17" orient="horz" pos="2772">
          <p15:clr>
            <a:srgbClr val="F26B43"/>
          </p15:clr>
        </p15:guide>
        <p15:guide id="18" orient="horz" pos="37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1" name="Слайд think-cell" r:id="rId15" imgW="270" imgH="270" progId="TCLayout.ActiveDocument.1">
                  <p:embed/>
                </p:oleObj>
              </mc:Choice>
              <mc:Fallback>
                <p:oleObj name="Слайд think-cell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B48B62-8FC6-4BEA-A2C8-CAEDC5016518}"/>
              </a:ext>
            </a:extLst>
          </p:cNvPr>
          <p:cNvSpPr txBox="1"/>
          <p:nvPr userDrawn="1"/>
        </p:nvSpPr>
        <p:spPr>
          <a:xfrm>
            <a:off x="11604476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224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3" name="Слайд think-cell" r:id="rId76" imgW="270" imgH="270" progId="TCLayout.ActiveDocument.1">
                  <p:embed/>
                </p:oleObj>
              </mc:Choice>
              <mc:Fallback>
                <p:oleObj name="Слайд think-cell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B48B62-8FC6-4BEA-A2C8-CAEDC5016518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1874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8" r:id="rId31"/>
    <p:sldLayoutId id="2147483719" r:id="rId32"/>
    <p:sldLayoutId id="2147483720" r:id="rId33"/>
    <p:sldLayoutId id="2147483721" r:id="rId34"/>
    <p:sldLayoutId id="2147483722" r:id="rId35"/>
    <p:sldLayoutId id="2147483723" r:id="rId36"/>
    <p:sldLayoutId id="2147483724" r:id="rId37"/>
    <p:sldLayoutId id="2147483725" r:id="rId38"/>
    <p:sldLayoutId id="2147483726" r:id="rId39"/>
    <p:sldLayoutId id="2147483727" r:id="rId40"/>
    <p:sldLayoutId id="2147483728" r:id="rId41"/>
    <p:sldLayoutId id="2147483729" r:id="rId42"/>
    <p:sldLayoutId id="2147483730" r:id="rId43"/>
    <p:sldLayoutId id="2147483731" r:id="rId44"/>
    <p:sldLayoutId id="2147483732" r:id="rId45"/>
    <p:sldLayoutId id="2147483733" r:id="rId46"/>
    <p:sldLayoutId id="2147483734" r:id="rId47"/>
    <p:sldLayoutId id="2147483735" r:id="rId48"/>
    <p:sldLayoutId id="2147483736" r:id="rId49"/>
    <p:sldLayoutId id="2147483737" r:id="rId50"/>
    <p:sldLayoutId id="2147483738" r:id="rId51"/>
    <p:sldLayoutId id="2147483739" r:id="rId52"/>
    <p:sldLayoutId id="2147483740" r:id="rId53"/>
    <p:sldLayoutId id="2147483741" r:id="rId54"/>
    <p:sldLayoutId id="2147483742" r:id="rId55"/>
    <p:sldLayoutId id="2147483743" r:id="rId56"/>
    <p:sldLayoutId id="2147483744" r:id="rId57"/>
    <p:sldLayoutId id="2147483745" r:id="rId58"/>
    <p:sldLayoutId id="2147483746" r:id="rId59"/>
    <p:sldLayoutId id="2147483747" r:id="rId60"/>
    <p:sldLayoutId id="2147483748" r:id="rId61"/>
    <p:sldLayoutId id="2147483749" r:id="rId62"/>
    <p:sldLayoutId id="2147483750" r:id="rId63"/>
    <p:sldLayoutId id="2147483751" r:id="rId64"/>
    <p:sldLayoutId id="2147483752" r:id="rId65"/>
    <p:sldLayoutId id="2147483753" r:id="rId66"/>
    <p:sldLayoutId id="2147483754" r:id="rId67"/>
    <p:sldLayoutId id="2147483755" r:id="rId68"/>
    <p:sldLayoutId id="2147483756" r:id="rId69"/>
    <p:sldLayoutId id="2147483757" r:id="rId70"/>
    <p:sldLayoutId id="2147483758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1" name="Слайд think-cell" r:id="rId21" imgW="270" imgH="270" progId="TCLayout.ActiveDocument.1">
                  <p:embed/>
                </p:oleObj>
              </mc:Choice>
              <mc:Fallback>
                <p:oleObj name="Слайд think-cell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B48B62-8FC6-4BEA-A2C8-CAEDC5016518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305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6.emf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12" Type="http://schemas.openxmlformats.org/officeDocument/2006/relationships/image" Target="../media/image35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png"/><Relationship Id="rId11" Type="http://schemas.openxmlformats.org/officeDocument/2006/relationships/image" Target="../media/image34.png"/><Relationship Id="rId5" Type="http://schemas.microsoft.com/office/2007/relationships/hdphoto" Target="../media/hdphoto2.wdp"/><Relationship Id="rId10" Type="http://schemas.openxmlformats.org/officeDocument/2006/relationships/image" Target="../media/image33.png"/><Relationship Id="rId4" Type="http://schemas.openxmlformats.org/officeDocument/2006/relationships/image" Target="../media/image29.png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28" y="5844007"/>
            <a:ext cx="603711" cy="505178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610569" y="154872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2000" b="1" i="1" dirty="0">
                <a:solidFill>
                  <a:srgbClr val="0649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Искусство в школе»</a:t>
            </a:r>
          </a:p>
          <a:p>
            <a:pPr algn="r"/>
            <a:r>
              <a:rPr lang="en-US" sz="2000" b="1" dirty="0">
                <a:solidFill>
                  <a:srgbClr val="0649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I</a:t>
            </a:r>
            <a:r>
              <a:rPr lang="ru-RU" sz="2000" b="1" dirty="0">
                <a:solidFill>
                  <a:srgbClr val="0649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сероссийские педагогические чтения</a:t>
            </a:r>
            <a:r>
              <a:rPr lang="en-US" sz="2000" b="1" dirty="0">
                <a:solidFill>
                  <a:srgbClr val="0649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2000" b="1" dirty="0">
              <a:solidFill>
                <a:srgbClr val="0649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27DD3F-A689-44CB-ABBF-D82CA4D2A9DA}"/>
              </a:ext>
            </a:extLst>
          </p:cNvPr>
          <p:cNvSpPr txBox="1"/>
          <p:nvPr/>
        </p:nvSpPr>
        <p:spPr>
          <a:xfrm>
            <a:off x="4281980" y="1534449"/>
            <a:ext cx="7424589" cy="584775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064997"/>
                </a:solidFill>
              </a:rPr>
              <a:t>Т</a:t>
            </a:r>
            <a:r>
              <a:rPr lang="ru-RU" sz="3200" b="1" cap="all" dirty="0">
                <a:solidFill>
                  <a:srgbClr val="064997"/>
                </a:solidFill>
              </a:rPr>
              <a:t>ема</a:t>
            </a:r>
            <a:r>
              <a:rPr lang="ru-RU" sz="3200" b="1" dirty="0">
                <a:solidFill>
                  <a:srgbClr val="064997"/>
                </a:solidFill>
              </a:rPr>
              <a:t>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D9A857-6FF9-46D8-88CC-739BACFB64F1}"/>
              </a:ext>
            </a:extLst>
          </p:cNvPr>
          <p:cNvSpPr txBox="1"/>
          <p:nvPr/>
        </p:nvSpPr>
        <p:spPr>
          <a:xfrm>
            <a:off x="4080274" y="4613090"/>
            <a:ext cx="7424589" cy="1692771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rgbClr val="002060"/>
                </a:solidFill>
              </a:rPr>
              <a:t>Спикер: </a:t>
            </a:r>
          </a:p>
          <a:p>
            <a:pPr algn="r"/>
            <a:r>
              <a:rPr lang="ru-RU" b="1" dirty="0">
                <a:solidFill>
                  <a:srgbClr val="002060"/>
                </a:solidFill>
              </a:rPr>
              <a:t>Ф.И.О.</a:t>
            </a:r>
          </a:p>
          <a:p>
            <a:pPr algn="r"/>
            <a:r>
              <a:rPr lang="ru-RU" b="1" dirty="0">
                <a:solidFill>
                  <a:srgbClr val="002060"/>
                </a:solidFill>
              </a:rPr>
              <a:t>должность,</a:t>
            </a:r>
          </a:p>
          <a:p>
            <a:pPr algn="r"/>
            <a:r>
              <a:rPr lang="ru-RU" b="1" dirty="0">
                <a:solidFill>
                  <a:srgbClr val="002060"/>
                </a:solidFill>
              </a:rPr>
              <a:t>звание, место работы, город</a:t>
            </a:r>
          </a:p>
          <a:p>
            <a:pPr algn="r"/>
            <a:endParaRPr lang="ru-RU" dirty="0">
              <a:solidFill>
                <a:srgbClr val="002060"/>
              </a:solidFill>
            </a:endParaRPr>
          </a:p>
          <a:p>
            <a:pPr algn="r"/>
            <a:r>
              <a:rPr lang="ru-RU" sz="1400" dirty="0">
                <a:solidFill>
                  <a:srgbClr val="002060"/>
                </a:solidFill>
              </a:rPr>
              <a:t>День выступления: …ноября 2025 года 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2AF5216-D6CB-4053-96E5-08D5286D26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528" y="508815"/>
            <a:ext cx="1492909" cy="90838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5BDA2C7-29AF-4156-A563-AC2BD3AC6D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528" y="4531219"/>
            <a:ext cx="603711" cy="54164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1BCBE78-04F6-4C14-B81E-4878809BF3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611529" y="5206886"/>
            <a:ext cx="603710" cy="50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4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2916759-941F-449B-B439-195F7D729AA0}"/>
              </a:ext>
            </a:extLst>
          </p:cNvPr>
          <p:cNvSpPr txBox="1"/>
          <p:nvPr/>
        </p:nvSpPr>
        <p:spPr>
          <a:xfrm>
            <a:off x="753035" y="898721"/>
            <a:ext cx="2460812" cy="1200329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algn="r"/>
            <a:r>
              <a:rPr lang="ru-RU" dirty="0">
                <a:solidFill>
                  <a:srgbClr val="F6F6FA"/>
                </a:solidFill>
              </a:rPr>
              <a:t>Основной тезис, проблематика выступления</a:t>
            </a:r>
          </a:p>
          <a:p>
            <a:pPr algn="r"/>
            <a:r>
              <a:rPr lang="ru-RU" dirty="0">
                <a:solidFill>
                  <a:srgbClr val="F6F6FA"/>
                </a:solidFill>
              </a:rPr>
              <a:t>(1-3 предложения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48AE1-B853-4FE3-BB5C-FCEB24B5156F}"/>
              </a:ext>
            </a:extLst>
          </p:cNvPr>
          <p:cNvSpPr txBox="1"/>
          <p:nvPr/>
        </p:nvSpPr>
        <p:spPr>
          <a:xfrm>
            <a:off x="4383741" y="6056396"/>
            <a:ext cx="7506820" cy="338554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Визуальный и текстовой материал</a:t>
            </a:r>
            <a:r>
              <a:rPr lang="ru-RU" sz="14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2FB739-8CBF-48E0-8AAC-B2A5F65B525D}"/>
              </a:ext>
            </a:extLst>
          </p:cNvPr>
          <p:cNvSpPr txBox="1"/>
          <p:nvPr/>
        </p:nvSpPr>
        <p:spPr>
          <a:xfrm>
            <a:off x="5796837" y="170662"/>
            <a:ext cx="6093724" cy="584775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algn="r"/>
            <a:r>
              <a:rPr lang="ru-RU" sz="1600" b="1" i="1" dirty="0">
                <a:solidFill>
                  <a:srgbClr val="0649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Искусство в школе»</a:t>
            </a:r>
          </a:p>
          <a:p>
            <a:pPr algn="r"/>
            <a:r>
              <a:rPr lang="en-US" sz="1600" dirty="0">
                <a:solidFill>
                  <a:srgbClr val="0649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</a:t>
            </a:r>
            <a:r>
              <a:rPr lang="ru-RU" sz="1600" dirty="0">
                <a:solidFill>
                  <a:srgbClr val="0649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сероссийские педагогические чтени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FE90C95-AB88-497F-AB50-554AD4EB5C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035" y="5550384"/>
            <a:ext cx="603556" cy="50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20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684E565-F704-4C01-BC60-1542350A71C4}"/>
              </a:ext>
            </a:extLst>
          </p:cNvPr>
          <p:cNvSpPr txBox="1"/>
          <p:nvPr/>
        </p:nvSpPr>
        <p:spPr>
          <a:xfrm>
            <a:off x="4184827" y="5631503"/>
            <a:ext cx="3468800" cy="830997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Визуальный материал:</a:t>
            </a:r>
          </a:p>
          <a:p>
            <a:r>
              <a:rPr lang="ru-RU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таблицы, графики, фотографии, рисунки и т.п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327608-ABDF-494A-92FA-E40FF587DCFF}"/>
              </a:ext>
            </a:extLst>
          </p:cNvPr>
          <p:cNvSpPr txBox="1"/>
          <p:nvPr/>
        </p:nvSpPr>
        <p:spPr>
          <a:xfrm>
            <a:off x="5700205" y="276304"/>
            <a:ext cx="6093724" cy="584775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algn="r"/>
            <a:r>
              <a:rPr lang="ru-RU" sz="1600" b="1" i="1" dirty="0">
                <a:solidFill>
                  <a:srgbClr val="0649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Искусство в школе»</a:t>
            </a:r>
          </a:p>
          <a:p>
            <a:pPr algn="r"/>
            <a:r>
              <a:rPr lang="en-US" sz="1600" dirty="0">
                <a:solidFill>
                  <a:srgbClr val="0649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 </a:t>
            </a:r>
            <a:r>
              <a:rPr lang="ru-RU" sz="1600" dirty="0">
                <a:solidFill>
                  <a:srgbClr val="0649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российские педагогические чтен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E70E20-43CC-45ED-AC42-7F5F8D18DF0C}"/>
              </a:ext>
            </a:extLst>
          </p:cNvPr>
          <p:cNvSpPr txBox="1"/>
          <p:nvPr/>
        </p:nvSpPr>
        <p:spPr>
          <a:xfrm>
            <a:off x="606045" y="981399"/>
            <a:ext cx="2752488" cy="1200329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Основной тезис, проблематика выступления кратко</a:t>
            </a:r>
          </a:p>
          <a:p>
            <a:r>
              <a:rPr lang="ru-RU" dirty="0">
                <a:solidFill>
                  <a:schemeClr val="bg1"/>
                </a:solidFill>
              </a:rPr>
              <a:t>(1-3 предложения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89F20F-568E-4B39-8BB7-DBCDBD3822C6}"/>
              </a:ext>
            </a:extLst>
          </p:cNvPr>
          <p:cNvSpPr txBox="1"/>
          <p:nvPr/>
        </p:nvSpPr>
        <p:spPr>
          <a:xfrm>
            <a:off x="8175003" y="5681072"/>
            <a:ext cx="3468800" cy="553998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Краткий текстовой материал</a:t>
            </a:r>
          </a:p>
          <a:p>
            <a:r>
              <a:rPr lang="ru-RU" sz="14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0654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1563BC7-BFF9-4954-86A2-D15CF954BCBB}"/>
              </a:ext>
            </a:extLst>
          </p:cNvPr>
          <p:cNvSpPr txBox="1"/>
          <p:nvPr/>
        </p:nvSpPr>
        <p:spPr>
          <a:xfrm>
            <a:off x="5585346" y="322660"/>
            <a:ext cx="6093724" cy="584775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rgbClr val="0649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Искусство в школе»</a:t>
            </a:r>
          </a:p>
          <a:p>
            <a:pPr algn="r"/>
            <a:r>
              <a:rPr lang="en-US" sz="1600" dirty="0">
                <a:solidFill>
                  <a:srgbClr val="0649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 </a:t>
            </a:r>
            <a:r>
              <a:rPr lang="ru-RU" sz="1600" dirty="0">
                <a:solidFill>
                  <a:srgbClr val="0649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российские Педагогические чтени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621113-79BE-4A38-9CEE-746BA096E824}"/>
              </a:ext>
            </a:extLst>
          </p:cNvPr>
          <p:cNvSpPr txBox="1"/>
          <p:nvPr/>
        </p:nvSpPr>
        <p:spPr>
          <a:xfrm>
            <a:off x="644857" y="907435"/>
            <a:ext cx="2371298" cy="1200329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Основной тезис, проблематика выступления кратко</a:t>
            </a:r>
          </a:p>
          <a:p>
            <a:r>
              <a:rPr lang="ru-RU" dirty="0">
                <a:solidFill>
                  <a:schemeClr val="bg1"/>
                </a:solidFill>
              </a:rPr>
              <a:t>(1-3 предложения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AB19F2-83FA-497B-8203-B1DA4604C0AC}"/>
              </a:ext>
            </a:extLst>
          </p:cNvPr>
          <p:cNvSpPr txBox="1"/>
          <p:nvPr/>
        </p:nvSpPr>
        <p:spPr>
          <a:xfrm>
            <a:off x="4165978" y="5982521"/>
            <a:ext cx="7775813" cy="338554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Визуальный материал: таблицы, графики, фотографии, рисунки и т.п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162604-E2E2-4FBC-93F7-67F8264CC55F}"/>
              </a:ext>
            </a:extLst>
          </p:cNvPr>
          <p:cNvSpPr txBox="1"/>
          <p:nvPr/>
        </p:nvSpPr>
        <p:spPr>
          <a:xfrm>
            <a:off x="4179627" y="5431388"/>
            <a:ext cx="6093724" cy="338554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Краткий текстовой материал</a:t>
            </a:r>
          </a:p>
        </p:txBody>
      </p:sp>
    </p:spTree>
    <p:extLst>
      <p:ext uri="{BB962C8B-B14F-4D97-AF65-F5344CB8AC3E}">
        <p14:creationId xmlns:p14="http://schemas.microsoft.com/office/powerpoint/2010/main" val="299195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284E7D9-9DBC-4333-B360-9C7DA09A0069}"/>
              </a:ext>
            </a:extLst>
          </p:cNvPr>
          <p:cNvSpPr txBox="1"/>
          <p:nvPr/>
        </p:nvSpPr>
        <p:spPr>
          <a:xfrm>
            <a:off x="5912893" y="202273"/>
            <a:ext cx="6093724" cy="584775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algn="r"/>
            <a:r>
              <a:rPr lang="ru-RU" sz="1600" dirty="0"/>
              <a:t>«Искусство в школе»</a:t>
            </a:r>
          </a:p>
          <a:p>
            <a:pPr algn="r"/>
            <a:r>
              <a:rPr lang="ru-RU" sz="1600" dirty="0"/>
              <a:t>III Всероссийские педагогические чтени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ED6993-BF3F-46C3-8E8C-6F2C5A816B70}"/>
              </a:ext>
            </a:extLst>
          </p:cNvPr>
          <p:cNvSpPr txBox="1"/>
          <p:nvPr/>
        </p:nvSpPr>
        <p:spPr>
          <a:xfrm>
            <a:off x="4684594" y="5206959"/>
            <a:ext cx="6093724" cy="1200329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dirty="0"/>
              <a:t>Фото автора презентации и дополнительные сведения о нём: ссылки на проекты, QR-код и др.   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509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C74A5AE-47B9-427A-AE8F-95FFE00832D1}"/>
              </a:ext>
            </a:extLst>
          </p:cNvPr>
          <p:cNvSpPr txBox="1"/>
          <p:nvPr/>
        </p:nvSpPr>
        <p:spPr>
          <a:xfrm>
            <a:off x="3980973" y="123547"/>
            <a:ext cx="7397186" cy="6463308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b="1" dirty="0"/>
              <a:t>Проекты журнала «Искусство в школе»: </a:t>
            </a:r>
          </a:p>
          <a:p>
            <a:endParaRPr lang="ru-RU" dirty="0"/>
          </a:p>
          <a:p>
            <a:endParaRPr lang="ru-RU" dirty="0"/>
          </a:p>
          <a:p>
            <a:r>
              <a:rPr lang="ru-RU" dirty="0">
                <a:solidFill>
                  <a:srgbClr val="064997"/>
                </a:solidFill>
              </a:rPr>
              <a:t>«Передвижничество: Я вижу мир»</a:t>
            </a:r>
          </a:p>
          <a:p>
            <a:endParaRPr lang="ru-RU" dirty="0"/>
          </a:p>
          <a:p>
            <a:endParaRPr lang="ru-RU" dirty="0">
              <a:solidFill>
                <a:srgbClr val="064997"/>
              </a:solidFill>
            </a:endParaRPr>
          </a:p>
          <a:p>
            <a:r>
              <a:rPr lang="ru-RU" dirty="0">
                <a:solidFill>
                  <a:srgbClr val="064997"/>
                </a:solidFill>
              </a:rPr>
              <a:t>Фестиваль «Диалог искусств»</a:t>
            </a:r>
          </a:p>
          <a:p>
            <a:endParaRPr lang="ru-RU" dirty="0">
              <a:solidFill>
                <a:srgbClr val="064997"/>
              </a:solidFill>
            </a:endParaRPr>
          </a:p>
          <a:p>
            <a:endParaRPr lang="ru-RU" dirty="0">
              <a:solidFill>
                <a:srgbClr val="064997"/>
              </a:solidFill>
            </a:endParaRPr>
          </a:p>
          <a:p>
            <a:endParaRPr lang="ru-RU" dirty="0">
              <a:solidFill>
                <a:srgbClr val="064997"/>
              </a:solidFill>
            </a:endParaRPr>
          </a:p>
          <a:p>
            <a:r>
              <a:rPr lang="ru-RU" dirty="0">
                <a:solidFill>
                  <a:srgbClr val="064997"/>
                </a:solidFill>
              </a:rPr>
              <a:t>Молодёжная редакция</a:t>
            </a:r>
          </a:p>
          <a:p>
            <a:endParaRPr lang="ru-RU" dirty="0">
              <a:solidFill>
                <a:srgbClr val="064997"/>
              </a:solidFill>
            </a:endParaRPr>
          </a:p>
          <a:p>
            <a:endParaRPr lang="ru-RU" dirty="0">
              <a:solidFill>
                <a:srgbClr val="064997"/>
              </a:solidFill>
            </a:endParaRPr>
          </a:p>
          <a:p>
            <a:endParaRPr lang="ru-RU" dirty="0">
              <a:solidFill>
                <a:srgbClr val="064997"/>
              </a:solidFill>
            </a:endParaRPr>
          </a:p>
          <a:p>
            <a:r>
              <a:rPr lang="ru-RU" dirty="0">
                <a:solidFill>
                  <a:srgbClr val="064997"/>
                </a:solidFill>
              </a:rPr>
              <a:t>Театр и дети </a:t>
            </a:r>
          </a:p>
          <a:p>
            <a:endParaRPr lang="ru-RU" dirty="0">
              <a:solidFill>
                <a:srgbClr val="064997"/>
              </a:solidFill>
            </a:endParaRPr>
          </a:p>
          <a:p>
            <a:endParaRPr lang="ru-RU" dirty="0">
              <a:solidFill>
                <a:srgbClr val="064997"/>
              </a:solidFill>
            </a:endParaRPr>
          </a:p>
          <a:p>
            <a:endParaRPr lang="ru-RU" dirty="0">
              <a:solidFill>
                <a:srgbClr val="064997"/>
              </a:solidFill>
            </a:endParaRPr>
          </a:p>
          <a:p>
            <a:r>
              <a:rPr lang="ru-RU" dirty="0">
                <a:solidFill>
                  <a:srgbClr val="064997"/>
                </a:solidFill>
              </a:rPr>
              <a:t>Искусство в детском саду </a:t>
            </a:r>
          </a:p>
          <a:p>
            <a:endParaRPr lang="ru-RU" dirty="0">
              <a:solidFill>
                <a:srgbClr val="064997"/>
              </a:solidFill>
            </a:endParaRPr>
          </a:p>
          <a:p>
            <a:endParaRPr lang="ru-RU">
              <a:solidFill>
                <a:srgbClr val="064997"/>
              </a:solidFill>
            </a:endParaRPr>
          </a:p>
          <a:p>
            <a:endParaRPr lang="ru-RU" dirty="0">
              <a:solidFill>
                <a:srgbClr val="064997"/>
              </a:solidFill>
            </a:endParaRPr>
          </a:p>
          <a:p>
            <a:r>
              <a:rPr lang="ru-RU" dirty="0">
                <a:solidFill>
                  <a:srgbClr val="064997"/>
                </a:solidFill>
              </a:rPr>
              <a:t>Арт-профилактика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542800F-27D0-4538-A122-CC86261215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3240" y="362135"/>
            <a:ext cx="1237595" cy="122540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0B880C1-4B06-45EA-8EC8-BB0D2805EADC}"/>
              </a:ext>
            </a:extLst>
          </p:cNvPr>
          <p:cNvSpPr txBox="1"/>
          <p:nvPr/>
        </p:nvSpPr>
        <p:spPr>
          <a:xfrm>
            <a:off x="586662" y="1587537"/>
            <a:ext cx="2847933" cy="523220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Официальный сайт </a:t>
            </a:r>
          </a:p>
          <a:p>
            <a:r>
              <a:rPr lang="ru-RU" sz="1400" dirty="0">
                <a:solidFill>
                  <a:schemeClr val="bg1"/>
                </a:solidFill>
              </a:rPr>
              <a:t>журнала «Искусство в школе»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3248445-BE7E-4C88-8851-24D832F811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3240" y="2160724"/>
            <a:ext cx="1219306" cy="12254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5C0BB95-A72F-4D51-9A8A-FCBE54E641CE}"/>
              </a:ext>
            </a:extLst>
          </p:cNvPr>
          <p:cNvSpPr txBox="1"/>
          <p:nvPr/>
        </p:nvSpPr>
        <p:spPr>
          <a:xfrm>
            <a:off x="577517" y="3400493"/>
            <a:ext cx="2847933" cy="830997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Подписка на журнал </a:t>
            </a:r>
          </a:p>
          <a:p>
            <a:r>
              <a:rPr lang="ru-RU" sz="1600" dirty="0">
                <a:solidFill>
                  <a:schemeClr val="bg1"/>
                </a:solidFill>
              </a:rPr>
              <a:t>«Искусство в школе» </a:t>
            </a:r>
          </a:p>
          <a:p>
            <a:r>
              <a:rPr lang="ru-RU" sz="1600" dirty="0">
                <a:solidFill>
                  <a:schemeClr val="bg1"/>
                </a:solidFill>
              </a:rPr>
              <a:t>Почта России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0C9933E-3C02-4613-A7F8-B2DEDA06A5BA}"/>
              </a:ext>
            </a:extLst>
          </p:cNvPr>
          <p:cNvSpPr txBox="1"/>
          <p:nvPr/>
        </p:nvSpPr>
        <p:spPr>
          <a:xfrm>
            <a:off x="568373" y="5518212"/>
            <a:ext cx="2866222" cy="830997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Всероссийские педагогические чтения «Искусство в школе»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79D7704-4C44-4755-B896-925A16AE02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3240" y="4231490"/>
            <a:ext cx="1286722" cy="1286722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85B90059-CF21-46C9-83AA-70454F898D3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53687" y="1243866"/>
            <a:ext cx="1035401" cy="1035401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3148D0D1-46C4-4917-9BD1-00C74DDE66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64618" y="123547"/>
            <a:ext cx="1035400" cy="1035400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D94498A-C748-4CD3-9E2A-288D062AF8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53688" y="2328867"/>
            <a:ext cx="1057259" cy="1057259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B434BD4-13D5-4592-96C8-2F51FD6394D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69642" y="3471875"/>
            <a:ext cx="1057259" cy="105725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CF0C7F1-C5BD-4083-AA29-4701238B32F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369642" y="4613866"/>
            <a:ext cx="1057259" cy="1057259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CE03D11-3B42-40E8-BA71-2D79C2E26BE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364618" y="5747553"/>
            <a:ext cx="1024470" cy="1024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40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EE4P_MASTERWIZARD" val="TitleAndEndImag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EE4P_MASTERWIZARD" val="TitleAndEndImag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osv Grid 16:9 - 16631">
  <a:themeElements>
    <a:clrScheme name="Custom 90">
      <a:dk1>
        <a:srgbClr val="434343"/>
      </a:dk1>
      <a:lt1>
        <a:sysClr val="window" lastClr="FFFFFF"/>
      </a:lt1>
      <a:dk2>
        <a:srgbClr val="0F6FC6"/>
      </a:dk2>
      <a:lt2>
        <a:srgbClr val="F2F2F2"/>
      </a:lt2>
      <a:accent1>
        <a:srgbClr val="073763"/>
      </a:accent1>
      <a:accent2>
        <a:srgbClr val="0B5394"/>
      </a:accent2>
      <a:accent3>
        <a:srgbClr val="E7E200"/>
      </a:accent3>
      <a:accent4>
        <a:srgbClr val="7FC463"/>
      </a:accent4>
      <a:accent5>
        <a:srgbClr val="7F7F7F"/>
      </a:accent5>
      <a:accent6>
        <a:srgbClr val="019DD9"/>
      </a:accent6>
      <a:hlink>
        <a:srgbClr val="0075A2"/>
      </a:hlink>
      <a:folHlink>
        <a:srgbClr val="124964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>
              <a:lumMod val="60000"/>
              <a:lumOff val="40000"/>
            </a:schemeClr>
          </a:solidFill>
          <a:miter lim="800000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accent5">
              <a:lumMod val="60000"/>
              <a:lumOff val="40000"/>
            </a:schemeClr>
          </a:solidFill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err="1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Титульны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Prosv Grid 16:9 - 16631">
  <a:themeElements>
    <a:clrScheme name="Custom 90">
      <a:dk1>
        <a:srgbClr val="434343"/>
      </a:dk1>
      <a:lt1>
        <a:sysClr val="window" lastClr="FFFFFF"/>
      </a:lt1>
      <a:dk2>
        <a:srgbClr val="0F6FC6"/>
      </a:dk2>
      <a:lt2>
        <a:srgbClr val="F2F2F2"/>
      </a:lt2>
      <a:accent1>
        <a:srgbClr val="073763"/>
      </a:accent1>
      <a:accent2>
        <a:srgbClr val="0B5394"/>
      </a:accent2>
      <a:accent3>
        <a:srgbClr val="E7E200"/>
      </a:accent3>
      <a:accent4>
        <a:srgbClr val="7FC463"/>
      </a:accent4>
      <a:accent5>
        <a:srgbClr val="7F7F7F"/>
      </a:accent5>
      <a:accent6>
        <a:srgbClr val="019DD9"/>
      </a:accent6>
      <a:hlink>
        <a:srgbClr val="0075A2"/>
      </a:hlink>
      <a:folHlink>
        <a:srgbClr val="124964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>
              <a:lumMod val="60000"/>
              <a:lumOff val="40000"/>
            </a:schemeClr>
          </a:solidFill>
          <a:miter lim="800000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accent5">
              <a:lumMod val="60000"/>
              <a:lumOff val="40000"/>
            </a:schemeClr>
          </a:solidFill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err="1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3_Prosv Grid 16:9 - 16631">
  <a:themeElements>
    <a:clrScheme name="Custom 90">
      <a:dk1>
        <a:srgbClr val="434343"/>
      </a:dk1>
      <a:lt1>
        <a:sysClr val="window" lastClr="FFFFFF"/>
      </a:lt1>
      <a:dk2>
        <a:srgbClr val="0F6FC6"/>
      </a:dk2>
      <a:lt2>
        <a:srgbClr val="F2F2F2"/>
      </a:lt2>
      <a:accent1>
        <a:srgbClr val="073763"/>
      </a:accent1>
      <a:accent2>
        <a:srgbClr val="0B5394"/>
      </a:accent2>
      <a:accent3>
        <a:srgbClr val="E7E200"/>
      </a:accent3>
      <a:accent4>
        <a:srgbClr val="7FC463"/>
      </a:accent4>
      <a:accent5>
        <a:srgbClr val="7F7F7F"/>
      </a:accent5>
      <a:accent6>
        <a:srgbClr val="019DD9"/>
      </a:accent6>
      <a:hlink>
        <a:srgbClr val="0075A2"/>
      </a:hlink>
      <a:folHlink>
        <a:srgbClr val="124964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>
              <a:lumMod val="60000"/>
              <a:lumOff val="40000"/>
            </a:schemeClr>
          </a:solidFill>
          <a:miter lim="800000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accent5">
              <a:lumMod val="60000"/>
              <a:lumOff val="40000"/>
            </a:schemeClr>
          </a:solidFill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err="1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4_Prosv Grid 16:9 - 16631">
  <a:themeElements>
    <a:clrScheme name="Custom 90">
      <a:dk1>
        <a:srgbClr val="434343"/>
      </a:dk1>
      <a:lt1>
        <a:sysClr val="window" lastClr="FFFFFF"/>
      </a:lt1>
      <a:dk2>
        <a:srgbClr val="0F6FC6"/>
      </a:dk2>
      <a:lt2>
        <a:srgbClr val="F2F2F2"/>
      </a:lt2>
      <a:accent1>
        <a:srgbClr val="073763"/>
      </a:accent1>
      <a:accent2>
        <a:srgbClr val="0B5394"/>
      </a:accent2>
      <a:accent3>
        <a:srgbClr val="E7E200"/>
      </a:accent3>
      <a:accent4>
        <a:srgbClr val="7FC463"/>
      </a:accent4>
      <a:accent5>
        <a:srgbClr val="7F7F7F"/>
      </a:accent5>
      <a:accent6>
        <a:srgbClr val="019DD9"/>
      </a:accent6>
      <a:hlink>
        <a:srgbClr val="0075A2"/>
      </a:hlink>
      <a:folHlink>
        <a:srgbClr val="124964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>
              <a:lumMod val="60000"/>
              <a:lumOff val="40000"/>
            </a:schemeClr>
          </a:solidFill>
          <a:miter lim="800000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accent5">
              <a:lumMod val="60000"/>
              <a:lumOff val="40000"/>
            </a:schemeClr>
          </a:solidFill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err="1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700</TotalTime>
  <Words>212</Words>
  <Application>Microsoft Office PowerPoint</Application>
  <PresentationFormat>Широкоэкранный</PresentationFormat>
  <Paragraphs>61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Trebuchet MS</vt:lpstr>
      <vt:lpstr>1_Prosv Grid 16:9 - 16631</vt:lpstr>
      <vt:lpstr>Титульный слайд</vt:lpstr>
      <vt:lpstr>2_Prosv Grid 16:9 - 16631</vt:lpstr>
      <vt:lpstr>3_Prosv Grid 16:9 - 16631</vt:lpstr>
      <vt:lpstr>4_Prosv Grid 16:9 - 16631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лычева Лариса Николаевна</dc:creator>
  <cp:lastModifiedBy>pc2</cp:lastModifiedBy>
  <cp:revision>958</cp:revision>
  <cp:lastPrinted>2024-02-16T08:03:37Z</cp:lastPrinted>
  <dcterms:created xsi:type="dcterms:W3CDTF">2023-07-10T13:04:57Z</dcterms:created>
  <dcterms:modified xsi:type="dcterms:W3CDTF">2025-10-08T11:33:35Z</dcterms:modified>
</cp:coreProperties>
</file>